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-8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3/07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3/07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ohit1045-git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drive.google.com/file/d/1R5nvvMkM-2lJjD8OJmqumQUOJ6FrJSrB/view?usp=sharing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Deals and Coupons Finder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MEA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en-IN" sz="1600" b="0" i="0" dirty="0">
                <a:effectLst/>
                <a:latin typeface="Segoe UI" panose="020B0502040204020203" pitchFamily="34" charset="0"/>
              </a:rPr>
              <a:t>Analyst / Software Engineer</a:t>
            </a:r>
            <a:endParaRPr lang="nl-NL" altLang="nl-NL" sz="1600" dirty="0"/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6956" y="1605434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rohitmanapure007@gmail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735758937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Angular Framework and Java Microservice Development using Spring framework on an intermediate level.</a:t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Engineering in  Computer Science 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Rohit Manapure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035329" y="6279621"/>
            <a:ext cx="437805" cy="4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705" y="6279621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D0990B5-96DE-41A4-9CD6-1BBC032CC973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>
          <a:xfrm>
            <a:off x="353565" y="305520"/>
            <a:ext cx="1637979" cy="1639320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2006/documentManagement/types"/>
    <ds:schemaRef ds:uri="fd33c62d-2c11-46e7-88a2-e90fa986d9d0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7da6acf-edf2-43bc-9595-f721a214a14e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213</TotalTime>
  <Words>241</Words>
  <Application>Microsoft Office PowerPoint</Application>
  <PresentationFormat>Widescreen</PresentationFormat>
  <Paragraphs>5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Segoe UI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Pramod Manapure, Rohit</cp:lastModifiedBy>
  <cp:revision>113</cp:revision>
  <dcterms:created xsi:type="dcterms:W3CDTF">2017-12-08T05:27:40Z</dcterms:created>
  <dcterms:modified xsi:type="dcterms:W3CDTF">2022-07-03T17:0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